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76"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CCDE0A-4FBD-42DE-8BD8-F69AD1298DB6}" v="54" dt="2023-03-06T23:08:05.74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76"/>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1FCCDE0A-4FBD-42DE-8BD8-F69AD1298DB6}"/>
    <pc:docChg chg="addSld delSld modSld">
      <pc:chgData name="Roberto Gallardo" userId="49a044883f185952" providerId="LiveId" clId="{1FCCDE0A-4FBD-42DE-8BD8-F69AD1298DB6}" dt="2023-03-06T23:08:19.859" v="218" actId="1076"/>
      <pc:docMkLst>
        <pc:docMk/>
      </pc:docMkLst>
      <pc:sldChg chg="del">
        <pc:chgData name="Roberto Gallardo" userId="49a044883f185952" providerId="LiveId" clId="{1FCCDE0A-4FBD-42DE-8BD8-F69AD1298DB6}" dt="2023-02-25T14:58:28.893" v="4" actId="47"/>
        <pc:sldMkLst>
          <pc:docMk/>
          <pc:sldMk cId="1175010214" sldId="261"/>
        </pc:sldMkLst>
      </pc:sldChg>
      <pc:sldChg chg="addSp modSp mod">
        <pc:chgData name="Roberto Gallardo" userId="49a044883f185952" providerId="LiveId" clId="{1FCCDE0A-4FBD-42DE-8BD8-F69AD1298DB6}" dt="2023-03-06T23:02:02.003" v="17" actId="1076"/>
        <pc:sldMkLst>
          <pc:docMk/>
          <pc:sldMk cId="1418533539" sldId="271"/>
        </pc:sldMkLst>
        <pc:picChg chg="add mod">
          <ac:chgData name="Roberto Gallardo" userId="49a044883f185952" providerId="LiveId" clId="{1FCCDE0A-4FBD-42DE-8BD8-F69AD1298DB6}" dt="2023-03-06T23:02:02.003" v="17" actId="1076"/>
          <ac:picMkLst>
            <pc:docMk/>
            <pc:sldMk cId="1418533539" sldId="271"/>
            <ac:picMk id="6" creationId="{32BA1259-F6D9-32FF-F865-A2E0CFF8C460}"/>
          </ac:picMkLst>
        </pc:picChg>
      </pc:sldChg>
      <pc:sldChg chg="addSp modSp mod">
        <pc:chgData name="Roberto Gallardo" userId="49a044883f185952" providerId="LiveId" clId="{1FCCDE0A-4FBD-42DE-8BD8-F69AD1298DB6}" dt="2023-03-06T23:04:14.981" v="88" actId="1076"/>
        <pc:sldMkLst>
          <pc:docMk/>
          <pc:sldMk cId="2124848710" sldId="281"/>
        </pc:sldMkLst>
        <pc:picChg chg="add mod">
          <ac:chgData name="Roberto Gallardo" userId="49a044883f185952" providerId="LiveId" clId="{1FCCDE0A-4FBD-42DE-8BD8-F69AD1298DB6}" dt="2023-03-06T23:04:14.981" v="88" actId="1076"/>
          <ac:picMkLst>
            <pc:docMk/>
            <pc:sldMk cId="2124848710" sldId="281"/>
            <ac:picMk id="6" creationId="{755D87EA-49A4-E70C-91C6-0FC226647B69}"/>
          </ac:picMkLst>
        </pc:picChg>
      </pc:sldChg>
      <pc:sldChg chg="addSp modSp mod">
        <pc:chgData name="Roberto Gallardo" userId="49a044883f185952" providerId="LiveId" clId="{1FCCDE0A-4FBD-42DE-8BD8-F69AD1298DB6}" dt="2023-03-06T23:04:33.117" v="96" actId="1076"/>
        <pc:sldMkLst>
          <pc:docMk/>
          <pc:sldMk cId="2028175529" sldId="282"/>
        </pc:sldMkLst>
        <pc:picChg chg="add mod">
          <ac:chgData name="Roberto Gallardo" userId="49a044883f185952" providerId="LiveId" clId="{1FCCDE0A-4FBD-42DE-8BD8-F69AD1298DB6}" dt="2023-03-06T23:04:33.117" v="96" actId="1076"/>
          <ac:picMkLst>
            <pc:docMk/>
            <pc:sldMk cId="2028175529" sldId="282"/>
            <ac:picMk id="7" creationId="{6FAA692B-A0C6-C73F-3C39-B072D9844195}"/>
          </ac:picMkLst>
        </pc:picChg>
      </pc:sldChg>
      <pc:sldChg chg="addSp modSp mod">
        <pc:chgData name="Roberto Gallardo" userId="49a044883f185952" providerId="LiveId" clId="{1FCCDE0A-4FBD-42DE-8BD8-F69AD1298DB6}" dt="2023-03-06T23:04:51.697" v="107" actId="1076"/>
        <pc:sldMkLst>
          <pc:docMk/>
          <pc:sldMk cId="1326517747" sldId="283"/>
        </pc:sldMkLst>
        <pc:picChg chg="add mod">
          <ac:chgData name="Roberto Gallardo" userId="49a044883f185952" providerId="LiveId" clId="{1FCCDE0A-4FBD-42DE-8BD8-F69AD1298DB6}" dt="2023-03-06T23:04:51.697" v="107" actId="1076"/>
          <ac:picMkLst>
            <pc:docMk/>
            <pc:sldMk cId="1326517747" sldId="283"/>
            <ac:picMk id="7" creationId="{EEA43CB5-C5DE-86E2-3500-363FF137713F}"/>
          </ac:picMkLst>
        </pc:picChg>
      </pc:sldChg>
      <pc:sldChg chg="addSp modSp mod">
        <pc:chgData name="Roberto Gallardo" userId="49a044883f185952" providerId="LiveId" clId="{1FCCDE0A-4FBD-42DE-8BD8-F69AD1298DB6}" dt="2023-03-06T23:05:06.859" v="116" actId="1076"/>
        <pc:sldMkLst>
          <pc:docMk/>
          <pc:sldMk cId="783739251" sldId="284"/>
        </pc:sldMkLst>
        <pc:picChg chg="add mod">
          <ac:chgData name="Roberto Gallardo" userId="49a044883f185952" providerId="LiveId" clId="{1FCCDE0A-4FBD-42DE-8BD8-F69AD1298DB6}" dt="2023-03-06T23:05:06.859" v="116" actId="1076"/>
          <ac:picMkLst>
            <pc:docMk/>
            <pc:sldMk cId="783739251" sldId="284"/>
            <ac:picMk id="7" creationId="{1A932FE2-D986-85FA-323F-37FAC991B56A}"/>
          </ac:picMkLst>
        </pc:picChg>
      </pc:sldChg>
      <pc:sldChg chg="addSp modSp mod">
        <pc:chgData name="Roberto Gallardo" userId="49a044883f185952" providerId="LiveId" clId="{1FCCDE0A-4FBD-42DE-8BD8-F69AD1298DB6}" dt="2023-03-06T23:05:27.314" v="127" actId="1076"/>
        <pc:sldMkLst>
          <pc:docMk/>
          <pc:sldMk cId="1676122233" sldId="285"/>
        </pc:sldMkLst>
        <pc:picChg chg="add mod">
          <ac:chgData name="Roberto Gallardo" userId="49a044883f185952" providerId="LiveId" clId="{1FCCDE0A-4FBD-42DE-8BD8-F69AD1298DB6}" dt="2023-03-06T23:05:27.314" v="127" actId="1076"/>
          <ac:picMkLst>
            <pc:docMk/>
            <pc:sldMk cId="1676122233" sldId="285"/>
            <ac:picMk id="7" creationId="{C5D7B360-A37A-698D-2C4E-7BB3E7461C78}"/>
          </ac:picMkLst>
        </pc:picChg>
      </pc:sldChg>
      <pc:sldChg chg="addSp modSp mod">
        <pc:chgData name="Roberto Gallardo" userId="49a044883f185952" providerId="LiveId" clId="{1FCCDE0A-4FBD-42DE-8BD8-F69AD1298DB6}" dt="2023-03-06T23:05:50.594" v="138" actId="1076"/>
        <pc:sldMkLst>
          <pc:docMk/>
          <pc:sldMk cId="3100398757" sldId="286"/>
        </pc:sldMkLst>
        <pc:picChg chg="add mod">
          <ac:chgData name="Roberto Gallardo" userId="49a044883f185952" providerId="LiveId" clId="{1FCCDE0A-4FBD-42DE-8BD8-F69AD1298DB6}" dt="2023-03-06T23:05:50.594" v="138" actId="1076"/>
          <ac:picMkLst>
            <pc:docMk/>
            <pc:sldMk cId="3100398757" sldId="286"/>
            <ac:picMk id="7" creationId="{BB4D9969-9CFA-E483-C364-FF74A082F6CD}"/>
          </ac:picMkLst>
        </pc:picChg>
      </pc:sldChg>
      <pc:sldChg chg="addSp modSp mod">
        <pc:chgData name="Roberto Gallardo" userId="49a044883f185952" providerId="LiveId" clId="{1FCCDE0A-4FBD-42DE-8BD8-F69AD1298DB6}" dt="2023-03-06T23:06:12.438" v="149" actId="1076"/>
        <pc:sldMkLst>
          <pc:docMk/>
          <pc:sldMk cId="1546475425" sldId="287"/>
        </pc:sldMkLst>
        <pc:picChg chg="add mod">
          <ac:chgData name="Roberto Gallardo" userId="49a044883f185952" providerId="LiveId" clId="{1FCCDE0A-4FBD-42DE-8BD8-F69AD1298DB6}" dt="2023-03-06T23:06:12.438" v="149" actId="1076"/>
          <ac:picMkLst>
            <pc:docMk/>
            <pc:sldMk cId="1546475425" sldId="287"/>
            <ac:picMk id="7" creationId="{1AD36E2E-683A-5639-35E6-D09509492548}"/>
          </ac:picMkLst>
        </pc:picChg>
      </pc:sldChg>
      <pc:sldChg chg="addSp modSp mod">
        <pc:chgData name="Roberto Gallardo" userId="49a044883f185952" providerId="LiveId" clId="{1FCCDE0A-4FBD-42DE-8BD8-F69AD1298DB6}" dt="2023-03-06T23:07:00.254" v="172" actId="1076"/>
        <pc:sldMkLst>
          <pc:docMk/>
          <pc:sldMk cId="1380517306" sldId="288"/>
        </pc:sldMkLst>
        <pc:picChg chg="add mod">
          <ac:chgData name="Roberto Gallardo" userId="49a044883f185952" providerId="LiveId" clId="{1FCCDE0A-4FBD-42DE-8BD8-F69AD1298DB6}" dt="2023-03-06T23:07:00.254" v="172" actId="1076"/>
          <ac:picMkLst>
            <pc:docMk/>
            <pc:sldMk cId="1380517306" sldId="288"/>
            <ac:picMk id="7" creationId="{4115C00E-8A1C-542C-C61F-A617DD67888D}"/>
          </ac:picMkLst>
        </pc:picChg>
      </pc:sldChg>
      <pc:sldChg chg="addSp modSp mod">
        <pc:chgData name="Roberto Gallardo" userId="49a044883f185952" providerId="LiveId" clId="{1FCCDE0A-4FBD-42DE-8BD8-F69AD1298DB6}" dt="2023-03-06T23:07:24.958" v="185" actId="1076"/>
        <pc:sldMkLst>
          <pc:docMk/>
          <pc:sldMk cId="1388671151" sldId="289"/>
        </pc:sldMkLst>
        <pc:picChg chg="add mod">
          <ac:chgData name="Roberto Gallardo" userId="49a044883f185952" providerId="LiveId" clId="{1FCCDE0A-4FBD-42DE-8BD8-F69AD1298DB6}" dt="2023-03-06T23:07:24.958" v="185" actId="1076"/>
          <ac:picMkLst>
            <pc:docMk/>
            <pc:sldMk cId="1388671151" sldId="289"/>
            <ac:picMk id="7" creationId="{9FB1DD90-E27A-6D7A-14AB-A59041895F2A}"/>
          </ac:picMkLst>
        </pc:picChg>
      </pc:sldChg>
      <pc:sldChg chg="addSp modSp mod">
        <pc:chgData name="Roberto Gallardo" userId="49a044883f185952" providerId="LiveId" clId="{1FCCDE0A-4FBD-42DE-8BD8-F69AD1298DB6}" dt="2023-03-06T23:07:58.771" v="207" actId="1076"/>
        <pc:sldMkLst>
          <pc:docMk/>
          <pc:sldMk cId="2355376039" sldId="290"/>
        </pc:sldMkLst>
        <pc:picChg chg="add mod">
          <ac:chgData name="Roberto Gallardo" userId="49a044883f185952" providerId="LiveId" clId="{1FCCDE0A-4FBD-42DE-8BD8-F69AD1298DB6}" dt="2023-03-06T23:07:58.771" v="207" actId="1076"/>
          <ac:picMkLst>
            <pc:docMk/>
            <pc:sldMk cId="2355376039" sldId="290"/>
            <ac:picMk id="8" creationId="{13364B8A-7568-ABEA-E976-DC838E56189D}"/>
          </ac:picMkLst>
        </pc:picChg>
      </pc:sldChg>
      <pc:sldChg chg="addSp modSp mod">
        <pc:chgData name="Roberto Gallardo" userId="49a044883f185952" providerId="LiveId" clId="{1FCCDE0A-4FBD-42DE-8BD8-F69AD1298DB6}" dt="2023-03-06T23:08:19.859" v="218" actId="1076"/>
        <pc:sldMkLst>
          <pc:docMk/>
          <pc:sldMk cId="3757257295" sldId="291"/>
        </pc:sldMkLst>
        <pc:picChg chg="add mod">
          <ac:chgData name="Roberto Gallardo" userId="49a044883f185952" providerId="LiveId" clId="{1FCCDE0A-4FBD-42DE-8BD8-F69AD1298DB6}" dt="2023-03-06T23:08:19.859" v="218" actId="1076"/>
          <ac:picMkLst>
            <pc:docMk/>
            <pc:sldMk cId="3757257295" sldId="291"/>
            <ac:picMk id="8" creationId="{F60B9C3D-507B-54C5-30B3-BFDCAB381825}"/>
          </ac:picMkLst>
        </pc:picChg>
      </pc:sldChg>
      <pc:sldChg chg="addSp modSp mod">
        <pc:chgData name="Roberto Gallardo" userId="49a044883f185952" providerId="LiveId" clId="{1FCCDE0A-4FBD-42DE-8BD8-F69AD1298DB6}" dt="2023-03-06T23:06:35.430" v="161" actId="1076"/>
        <pc:sldMkLst>
          <pc:docMk/>
          <pc:sldMk cId="1259856727" sldId="292"/>
        </pc:sldMkLst>
        <pc:picChg chg="add mod">
          <ac:chgData name="Roberto Gallardo" userId="49a044883f185952" providerId="LiveId" clId="{1FCCDE0A-4FBD-42DE-8BD8-F69AD1298DB6}" dt="2023-03-06T23:06:35.430" v="161" actId="1076"/>
          <ac:picMkLst>
            <pc:docMk/>
            <pc:sldMk cId="1259856727" sldId="292"/>
            <ac:picMk id="7" creationId="{83DF116B-3C62-9DF7-DE57-6B0958F11845}"/>
          </ac:picMkLst>
        </pc:picChg>
      </pc:sldChg>
      <pc:sldChg chg="addSp modSp mod">
        <pc:chgData name="Roberto Gallardo" userId="49a044883f185952" providerId="LiveId" clId="{1FCCDE0A-4FBD-42DE-8BD8-F69AD1298DB6}" dt="2023-03-06T23:03:55.207" v="77" actId="1076"/>
        <pc:sldMkLst>
          <pc:docMk/>
          <pc:sldMk cId="3324519687" sldId="293"/>
        </pc:sldMkLst>
        <pc:picChg chg="add mod">
          <ac:chgData name="Roberto Gallardo" userId="49a044883f185952" providerId="LiveId" clId="{1FCCDE0A-4FBD-42DE-8BD8-F69AD1298DB6}" dt="2023-03-06T23:03:55.207" v="77" actId="1076"/>
          <ac:picMkLst>
            <pc:docMk/>
            <pc:sldMk cId="3324519687" sldId="293"/>
            <ac:picMk id="7" creationId="{051F8A98-2BF3-3E62-36C9-611995377FE1}"/>
          </ac:picMkLst>
        </pc:picChg>
      </pc:sldChg>
      <pc:sldChg chg="addSp modSp mod">
        <pc:chgData name="Roberto Gallardo" userId="49a044883f185952" providerId="LiveId" clId="{1FCCDE0A-4FBD-42DE-8BD8-F69AD1298DB6}" dt="2023-03-06T23:03:08.686" v="53" actId="1076"/>
        <pc:sldMkLst>
          <pc:docMk/>
          <pc:sldMk cId="3256182630" sldId="295"/>
        </pc:sldMkLst>
        <pc:picChg chg="add mod">
          <ac:chgData name="Roberto Gallardo" userId="49a044883f185952" providerId="LiveId" clId="{1FCCDE0A-4FBD-42DE-8BD8-F69AD1298DB6}" dt="2023-03-06T23:03:08.686" v="53" actId="1076"/>
          <ac:picMkLst>
            <pc:docMk/>
            <pc:sldMk cId="3256182630" sldId="295"/>
            <ac:picMk id="7" creationId="{B35680D1-BE19-4D8C-D711-BDF5422AD14B}"/>
          </ac:picMkLst>
        </pc:picChg>
      </pc:sldChg>
      <pc:sldChg chg="addSp modSp mod">
        <pc:chgData name="Roberto Gallardo" userId="49a044883f185952" providerId="LiveId" clId="{1FCCDE0A-4FBD-42DE-8BD8-F69AD1298DB6}" dt="2023-03-06T23:03:35.111" v="65" actId="1076"/>
        <pc:sldMkLst>
          <pc:docMk/>
          <pc:sldMk cId="4057156843" sldId="296"/>
        </pc:sldMkLst>
        <pc:picChg chg="add mod">
          <ac:chgData name="Roberto Gallardo" userId="49a044883f185952" providerId="LiveId" clId="{1FCCDE0A-4FBD-42DE-8BD8-F69AD1298DB6}" dt="2023-03-06T23:03:35.111" v="65" actId="1076"/>
          <ac:picMkLst>
            <pc:docMk/>
            <pc:sldMk cId="4057156843" sldId="296"/>
            <ac:picMk id="7" creationId="{ABAB2D50-111F-E811-4BE2-3ED6ADA7F953}"/>
          </ac:picMkLst>
        </pc:picChg>
      </pc:sldChg>
      <pc:sldChg chg="addSp modSp mod">
        <pc:chgData name="Roberto Gallardo" userId="49a044883f185952" providerId="LiveId" clId="{1FCCDE0A-4FBD-42DE-8BD8-F69AD1298DB6}" dt="2023-03-06T23:02:48.487" v="44" actId="1076"/>
        <pc:sldMkLst>
          <pc:docMk/>
          <pc:sldMk cId="2080110827" sldId="297"/>
        </pc:sldMkLst>
        <pc:picChg chg="add mod">
          <ac:chgData name="Roberto Gallardo" userId="49a044883f185952" providerId="LiveId" clId="{1FCCDE0A-4FBD-42DE-8BD8-F69AD1298DB6}" dt="2023-03-06T23:02:48.487" v="44" actId="1076"/>
          <ac:picMkLst>
            <pc:docMk/>
            <pc:sldMk cId="2080110827" sldId="297"/>
            <ac:picMk id="6" creationId="{A37F0EAE-F99B-7584-462F-B8FCA569AF33}"/>
          </ac:picMkLst>
        </pc:picChg>
      </pc:sldChg>
      <pc:sldChg chg="addSp modSp mod">
        <pc:chgData name="Roberto Gallardo" userId="49a044883f185952" providerId="LiveId" clId="{1FCCDE0A-4FBD-42DE-8BD8-F69AD1298DB6}" dt="2023-03-06T23:02:28.317" v="35" actId="1036"/>
        <pc:sldMkLst>
          <pc:docMk/>
          <pc:sldMk cId="1532666867" sldId="298"/>
        </pc:sldMkLst>
        <pc:picChg chg="add mod">
          <ac:chgData name="Roberto Gallardo" userId="49a044883f185952" providerId="LiveId" clId="{1FCCDE0A-4FBD-42DE-8BD8-F69AD1298DB6}" dt="2023-03-06T23:02:28.317" v="35" actId="1036"/>
          <ac:picMkLst>
            <pc:docMk/>
            <pc:sldMk cId="1532666867" sldId="298"/>
            <ac:picMk id="6" creationId="{CCB3692B-F334-61A8-5472-D0A5061B2E1B}"/>
          </ac:picMkLst>
        </pc:picChg>
      </pc:sldChg>
      <pc:sldChg chg="addSp modSp mod">
        <pc:chgData name="Roberto Gallardo" userId="49a044883f185952" providerId="LiveId" clId="{1FCCDE0A-4FBD-42DE-8BD8-F69AD1298DB6}" dt="2023-03-06T23:07:41.754" v="196" actId="1076"/>
        <pc:sldMkLst>
          <pc:docMk/>
          <pc:sldMk cId="1951376777" sldId="299"/>
        </pc:sldMkLst>
        <pc:picChg chg="add mod">
          <ac:chgData name="Roberto Gallardo" userId="49a044883f185952" providerId="LiveId" clId="{1FCCDE0A-4FBD-42DE-8BD8-F69AD1298DB6}" dt="2023-03-06T23:07:41.754" v="196" actId="1076"/>
          <ac:picMkLst>
            <pc:docMk/>
            <pc:sldMk cId="1951376777" sldId="299"/>
            <ac:picMk id="7" creationId="{48365B90-F750-3C36-40CE-350238CD689E}"/>
          </ac:picMkLst>
        </pc:picChg>
      </pc:sldChg>
      <pc:sldChg chg="modSp mod">
        <pc:chgData name="Roberto Gallardo" userId="49a044883f185952" providerId="LiveId" clId="{1FCCDE0A-4FBD-42DE-8BD8-F69AD1298DB6}" dt="2023-02-25T13:25:19.532" v="2" actId="20577"/>
        <pc:sldMkLst>
          <pc:docMk/>
          <pc:sldMk cId="1515423683" sldId="302"/>
        </pc:sldMkLst>
        <pc:spChg chg="mod">
          <ac:chgData name="Roberto Gallardo" userId="49a044883f185952" providerId="LiveId" clId="{1FCCDE0A-4FBD-42DE-8BD8-F69AD1298DB6}" dt="2023-02-25T13:25:19.532" v="2" actId="20577"/>
          <ac:spMkLst>
            <pc:docMk/>
            <pc:sldMk cId="1515423683" sldId="302"/>
            <ac:spMk id="5" creationId="{6AE302AC-8931-4144-BE52-DD1A8BA82462}"/>
          </ac:spMkLst>
        </pc:spChg>
        <pc:spChg chg="mod">
          <ac:chgData name="Roberto Gallardo" userId="49a044883f185952" providerId="LiveId" clId="{1FCCDE0A-4FBD-42DE-8BD8-F69AD1298DB6}" dt="2023-02-25T13:25:16.184" v="1" actId="20577"/>
          <ac:spMkLst>
            <pc:docMk/>
            <pc:sldMk cId="1515423683" sldId="302"/>
            <ac:spMk id="9" creationId="{E362A98F-7DCD-C67C-23CE-1BE182A133B4}"/>
          </ac:spMkLst>
        </pc:spChg>
      </pc:sldChg>
      <pc:sldChg chg="del">
        <pc:chgData name="Roberto Gallardo" userId="49a044883f185952" providerId="LiveId" clId="{1FCCDE0A-4FBD-42DE-8BD8-F69AD1298DB6}" dt="2023-02-25T14:58:28.893" v="4" actId="47"/>
        <pc:sldMkLst>
          <pc:docMk/>
          <pc:sldMk cId="2841628872" sldId="303"/>
        </pc:sldMkLst>
      </pc:sldChg>
      <pc:sldChg chg="del">
        <pc:chgData name="Roberto Gallardo" userId="49a044883f185952" providerId="LiveId" clId="{1FCCDE0A-4FBD-42DE-8BD8-F69AD1298DB6}" dt="2023-02-25T14:58:28.893" v="4" actId="47"/>
        <pc:sldMkLst>
          <pc:docMk/>
          <pc:sldMk cId="3084076302" sldId="304"/>
        </pc:sldMkLst>
      </pc:sldChg>
      <pc:sldChg chg="del">
        <pc:chgData name="Roberto Gallardo" userId="49a044883f185952" providerId="LiveId" clId="{1FCCDE0A-4FBD-42DE-8BD8-F69AD1298DB6}" dt="2023-02-25T14:58:28.893" v="4" actId="47"/>
        <pc:sldMkLst>
          <pc:docMk/>
          <pc:sldMk cId="473712435" sldId="305"/>
        </pc:sldMkLst>
      </pc:sldChg>
      <pc:sldChg chg="add">
        <pc:chgData name="Roberto Gallardo" userId="49a044883f185952" providerId="LiveId" clId="{1FCCDE0A-4FBD-42DE-8BD8-F69AD1298DB6}" dt="2023-02-25T14:58:26.126" v="3"/>
        <pc:sldMkLst>
          <pc:docMk/>
          <pc:sldMk cId="2785903476" sldId="307"/>
        </pc:sldMkLst>
      </pc:sldChg>
      <pc:sldChg chg="add">
        <pc:chgData name="Roberto Gallardo" userId="49a044883f185952" providerId="LiveId" clId="{1FCCDE0A-4FBD-42DE-8BD8-F69AD1298DB6}" dt="2023-02-25T14:58:26.126" v="3"/>
        <pc:sldMkLst>
          <pc:docMk/>
          <pc:sldMk cId="3732187769" sldId="308"/>
        </pc:sldMkLst>
      </pc:sldChg>
      <pc:sldChg chg="add">
        <pc:chgData name="Roberto Gallardo" userId="49a044883f185952" providerId="LiveId" clId="{1FCCDE0A-4FBD-42DE-8BD8-F69AD1298DB6}" dt="2023-02-25T14:58:26.126" v="3"/>
        <pc:sldMkLst>
          <pc:docMk/>
          <pc:sldMk cId="902113652" sldId="309"/>
        </pc:sldMkLst>
      </pc:sldChg>
      <pc:sldChg chg="add">
        <pc:chgData name="Roberto Gallardo" userId="49a044883f185952" providerId="LiveId" clId="{1FCCDE0A-4FBD-42DE-8BD8-F69AD1298DB6}" dt="2023-02-25T14:58:26.126" v="3"/>
        <pc:sldMkLst>
          <pc:docMk/>
          <pc:sldMk cId="2585899354"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31763"/>
          </a:xfrm>
          <a:prstGeom prst="rect">
            <a:avLst/>
          </a:prstGeom>
          <a:noFill/>
        </p:spPr>
        <p:txBody>
          <a:bodyPr wrap="square" rtlCol="0">
            <a:spAutoFit/>
          </a:bodyPr>
          <a:lstStyle/>
          <a:p>
            <a:r>
              <a:rPr lang="en-US" sz="4000">
                <a:solidFill>
                  <a:schemeClr val="bg1"/>
                </a:solidFill>
              </a:rPr>
              <a:t>Jones </a:t>
            </a:r>
            <a:r>
              <a:rPr lang="en-US" sz="4000" dirty="0">
                <a:solidFill>
                  <a:schemeClr val="bg1"/>
                </a:solidFill>
              </a:rPr>
              <a:t>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36AEF87E-FE7B-5688-D19C-26A7FB447CB1}"/>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9021136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5A01AF51-D566-265C-7B47-96C3DE2D0EAD}"/>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25858993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Schematic&#10;&#10;Description automatically generated">
            <a:extLst>
              <a:ext uri="{FF2B5EF4-FFF2-40B4-BE49-F238E27FC236}">
                <a16:creationId xmlns:a16="http://schemas.microsoft.com/office/drawing/2014/main" id="{32BA1259-F6D9-32FF-F865-A2E0CFF8C4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10;&#10;Description automatically generated with medium confidence">
            <a:extLst>
              <a:ext uri="{FF2B5EF4-FFF2-40B4-BE49-F238E27FC236}">
                <a16:creationId xmlns:a16="http://schemas.microsoft.com/office/drawing/2014/main" id="{CCB3692B-F334-61A8-5472-D0A5061B2E1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71688" y="1032635"/>
            <a:ext cx="7572423" cy="5354893"/>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10;&#10;Description automatically generated">
            <a:extLst>
              <a:ext uri="{FF2B5EF4-FFF2-40B4-BE49-F238E27FC236}">
                <a16:creationId xmlns:a16="http://schemas.microsoft.com/office/drawing/2014/main" id="{A37F0EAE-F99B-7584-462F-B8FCA569AF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6CB0C7C4-F4EB-3942-3072-55741C5A93D7}"/>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Diagram&#10;&#10;Description automatically generated">
            <a:extLst>
              <a:ext uri="{FF2B5EF4-FFF2-40B4-BE49-F238E27FC236}">
                <a16:creationId xmlns:a16="http://schemas.microsoft.com/office/drawing/2014/main" id="{B35680D1-BE19-4D8C-D711-BDF5422AD1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0075" y="1428523"/>
            <a:ext cx="6362700" cy="4499429"/>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ED8A2ACC-F03F-F526-7B0A-B5AABAC6643F}"/>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Schematic&#10;&#10;Description automatically generated">
            <a:extLst>
              <a:ext uri="{FF2B5EF4-FFF2-40B4-BE49-F238E27FC236}">
                <a16:creationId xmlns:a16="http://schemas.microsoft.com/office/drawing/2014/main" id="{ABAB2D50-111F-E811-4BE2-3ED6ADA7F9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5813"/>
            <a:ext cx="6365875" cy="4501674"/>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0B23DB34-581C-9BB4-2272-1CEB5E7E493D}"/>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Diagram&#10;&#10;Description automatically generated">
            <a:extLst>
              <a:ext uri="{FF2B5EF4-FFF2-40B4-BE49-F238E27FC236}">
                <a16:creationId xmlns:a16="http://schemas.microsoft.com/office/drawing/2014/main" id="{051F8A98-2BF3-3E62-36C9-611995377F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1" y="1426741"/>
            <a:ext cx="6362699" cy="4499428"/>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A5256C9F-6464-337D-788B-593890AA224F}"/>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A picture containing surface chart&#10;&#10;Description automatically generated">
            <a:extLst>
              <a:ext uri="{FF2B5EF4-FFF2-40B4-BE49-F238E27FC236}">
                <a16:creationId xmlns:a16="http://schemas.microsoft.com/office/drawing/2014/main" id="{755D87EA-49A4-E70C-91C6-0FC226647B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0074" y="1426141"/>
            <a:ext cx="6362701" cy="4499430"/>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351502C5-1C22-47F4-9D61-CA8BA640C823}"/>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diagram&#10;&#10;Description automatically generated">
            <a:extLst>
              <a:ext uri="{FF2B5EF4-FFF2-40B4-BE49-F238E27FC236}">
                <a16:creationId xmlns:a16="http://schemas.microsoft.com/office/drawing/2014/main" id="{6FAA692B-A0C6-C73F-3C39-B072D98441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1662" y="1426935"/>
            <a:ext cx="6362700" cy="4499429"/>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6EABC72E-C976-738F-1D46-F79AE00467FC}"/>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Schematic&#10;&#10;Description automatically generated with medium confidence">
            <a:extLst>
              <a:ext uri="{FF2B5EF4-FFF2-40B4-BE49-F238E27FC236}">
                <a16:creationId xmlns:a16="http://schemas.microsoft.com/office/drawing/2014/main" id="{EEA43CB5-C5DE-86E2-3500-363FF13771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13679"/>
            <a:ext cx="6366726" cy="4502276"/>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BBBBDD95-6EF0-72FD-1803-81F2720ABF44}"/>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surface chart&#10;&#10;Description automatically generated">
            <a:extLst>
              <a:ext uri="{FF2B5EF4-FFF2-40B4-BE49-F238E27FC236}">
                <a16:creationId xmlns:a16="http://schemas.microsoft.com/office/drawing/2014/main" id="{1A932FE2-D986-85FA-323F-37FAC991B5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9388"/>
            <a:ext cx="6362700" cy="4499429"/>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57B0B48D-9A7B-D5FC-EB65-100DF53727CF}"/>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surface chart&#10;&#10;Description automatically generated">
            <a:extLst>
              <a:ext uri="{FF2B5EF4-FFF2-40B4-BE49-F238E27FC236}">
                <a16:creationId xmlns:a16="http://schemas.microsoft.com/office/drawing/2014/main" id="{C5D7B360-A37A-698D-2C4E-7BB3E7461C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2172"/>
            <a:ext cx="6362700" cy="4499429"/>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8F7326C9-4F51-B78C-77FD-96BFC02E2A7D}"/>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BB4D9969-9CFA-E483-C364-FF74A082F6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5593"/>
            <a:ext cx="6362701" cy="4499429"/>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6679B249-651F-EF29-1610-1E08A033AF72}"/>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1AD36E2E-683A-5639-35E6-D095094925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0859"/>
            <a:ext cx="6362700" cy="4499428"/>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3ABCC2DC-B65D-D4A4-A7C5-44FD6FAF2257}"/>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83DF116B-3C62-9DF7-DE57-6B0958F118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0244"/>
            <a:ext cx="6362700" cy="4499428"/>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88F7DFA7-7D6C-D569-DB8E-3EEE461BC30D}"/>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Chart&#10;&#10;Description automatically generated with low confidence">
            <a:extLst>
              <a:ext uri="{FF2B5EF4-FFF2-40B4-BE49-F238E27FC236}">
                <a16:creationId xmlns:a16="http://schemas.microsoft.com/office/drawing/2014/main" id="{4115C00E-8A1C-542C-C61F-A617DD6788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4873"/>
            <a:ext cx="6362700" cy="4499429"/>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765EB08B-B34A-4F30-2130-96655A1F557E}"/>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with medium confidence">
            <a:extLst>
              <a:ext uri="{FF2B5EF4-FFF2-40B4-BE49-F238E27FC236}">
                <a16:creationId xmlns:a16="http://schemas.microsoft.com/office/drawing/2014/main" id="{9FB1DD90-E27A-6D7A-14AB-A59041895F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3338"/>
            <a:ext cx="6369885" cy="4504510"/>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904C59A1-93E1-BBE4-66A1-91F5DFB09933}"/>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Diagram, schematic&#10;&#10;Description automatically generated">
            <a:extLst>
              <a:ext uri="{FF2B5EF4-FFF2-40B4-BE49-F238E27FC236}">
                <a16:creationId xmlns:a16="http://schemas.microsoft.com/office/drawing/2014/main" id="{48365B90-F750-3C36-40CE-350238CD68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935"/>
            <a:ext cx="6362700" cy="4499429"/>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2ED81FC1-4931-8467-E159-5D9CF1E5C35B}"/>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Chart, surface chart&#10;&#10;Description automatically generated">
            <a:extLst>
              <a:ext uri="{FF2B5EF4-FFF2-40B4-BE49-F238E27FC236}">
                <a16:creationId xmlns:a16="http://schemas.microsoft.com/office/drawing/2014/main" id="{13364B8A-7568-ABEA-E976-DC838E5618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0618"/>
            <a:ext cx="6362701" cy="4499429"/>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0E56939B-5C19-34FB-DFF3-E49F364785D0}"/>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3FCE18A8-7623-13C0-7697-F581CD33786D}"/>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A picture containing surface chart&#10;&#10;Description automatically generated">
            <a:extLst>
              <a:ext uri="{FF2B5EF4-FFF2-40B4-BE49-F238E27FC236}">
                <a16:creationId xmlns:a16="http://schemas.microsoft.com/office/drawing/2014/main" id="{F60B9C3D-507B-54C5-30B3-BFDCAB3818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899" y="1422233"/>
            <a:ext cx="6362701" cy="4499429"/>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DA3750C4-C435-13B2-2D85-1872E49487CA}"/>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E326303C-7405-7F02-7E6A-293BC10C5218}"/>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3E2C5FD-DE05-78FD-F6B5-8321E11695F2}"/>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83649" y="2604909"/>
            <a:ext cx="1198148" cy="2120188"/>
            <a:chOff x="8052264" y="2525400"/>
            <a:chExt cx="1198148" cy="2120188"/>
          </a:xfrm>
        </p:grpSpPr>
        <p:sp>
          <p:nvSpPr>
            <p:cNvPr id="21" name="TextBox 20">
              <a:extLst>
                <a:ext uri="{FF2B5EF4-FFF2-40B4-BE49-F238E27FC236}">
                  <a16:creationId xmlns:a16="http://schemas.microsoft.com/office/drawing/2014/main" id="{9A68ADBE-AECC-EE60-7E94-3675B33E08AE}"/>
                </a:ext>
              </a:extLst>
            </p:cNvPr>
            <p:cNvSpPr txBox="1"/>
            <p:nvPr/>
          </p:nvSpPr>
          <p:spPr>
            <a:xfrm>
              <a:off x="8052264" y="321606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4</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464558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25254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p:cNvCxnSpPr>
            <p:nvPr/>
          </p:nvCxnSpPr>
          <p:spPr>
            <a:xfrm>
              <a:off x="8639518" y="2525400"/>
              <a:ext cx="0" cy="60076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51338" y="4108620"/>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45352" y="2495953"/>
            <a:ext cx="1198148" cy="2484628"/>
            <a:chOff x="10485745" y="2396972"/>
            <a:chExt cx="1198148" cy="2484628"/>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08410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9</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40038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396972"/>
              <a:ext cx="0" cy="68713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3976661"/>
              <a:ext cx="0" cy="90493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16CCE0F0-5D33-24B4-A565-157E59822EA1}"/>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E9A378DE-5C97-968B-EE1A-A7EA73D34CFD}"/>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B665ADDB-6C62-54B1-8CC0-9461BBD94E2D}"/>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98C6FD3B-4165-E6C4-DCDA-73C1E51E70C9}"/>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E42985C6-6348-1D20-9F57-B08371C2BFC1}"/>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73664727-85CC-C577-5882-7E2DC1A4EE70}"/>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CB8F7971-2183-2B12-A62D-DE0E445B17EF}"/>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7859034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2F7474EC-41E3-6D60-09C7-1B494A28C772}"/>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7321877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90</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86</cp:revision>
  <dcterms:created xsi:type="dcterms:W3CDTF">2022-07-04T13:32:28Z</dcterms:created>
  <dcterms:modified xsi:type="dcterms:W3CDTF">2023-03-06T23:08:27Z</dcterms:modified>
</cp:coreProperties>
</file>